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7"/>
  </p:notesMasterIdLst>
  <p:sldIdLst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ED5F03-DE02-7099-EF72-C9137636A960}" v="137" dt="2024-09-19T08:50:20.2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77D80-62CC-4C9C-80F5-A5A8B38D9515}" type="datetimeFigureOut">
              <a:t>19.09.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3D6F8-68CF-484F-9245-DF26B20B430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746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542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980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333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16056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920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0600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8070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884354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1995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16347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1846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127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5424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226296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0252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081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821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207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560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863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284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015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43BDC-0553-40FA-A4DB-EDAAA606CFF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319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76419C8-E68A-4E82-B1B5-3A84F7900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76419C8-E68A-4E82-B1B5-3A84F7900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028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6DB03FD-F981-6209-CC3B-54148515A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68"/>
            <a:ext cx="10515600" cy="1325563"/>
          </a:xfrm>
        </p:spPr>
        <p:txBody>
          <a:bodyPr/>
          <a:lstStyle/>
          <a:p>
            <a:r>
              <a:rPr lang="nb-NO" sz="3000" b="1">
                <a:latin typeface="Arial"/>
                <a:cs typeface="Arial"/>
              </a:rPr>
              <a:t>Agenda Helsedatarådet 26. september 12.00-15.00</a:t>
            </a:r>
            <a:endParaRPr lang="en-US" sz="3000">
              <a:latin typeface="Arial"/>
              <a:cs typeface="Arial"/>
            </a:endParaRPr>
          </a:p>
          <a:p>
            <a:endParaRPr lang="en-US">
              <a:cs typeface="Calibri Ligh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00CD574-5025-976C-B0D3-6E72DEE73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013176"/>
              </p:ext>
            </p:extLst>
          </p:nvPr>
        </p:nvGraphicFramePr>
        <p:xfrm>
          <a:off x="601800" y="930259"/>
          <a:ext cx="11310676" cy="43733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21089">
                  <a:extLst>
                    <a:ext uri="{9D8B030D-6E8A-4147-A177-3AD203B41FA5}">
                      <a16:colId xmlns:a16="http://schemas.microsoft.com/office/drawing/2014/main" val="982708103"/>
                    </a:ext>
                  </a:extLst>
                </a:gridCol>
                <a:gridCol w="871728">
                  <a:extLst>
                    <a:ext uri="{9D8B030D-6E8A-4147-A177-3AD203B41FA5}">
                      <a16:colId xmlns:a16="http://schemas.microsoft.com/office/drawing/2014/main" val="1175549074"/>
                    </a:ext>
                  </a:extLst>
                </a:gridCol>
                <a:gridCol w="7708347">
                  <a:extLst>
                    <a:ext uri="{9D8B030D-6E8A-4147-A177-3AD203B41FA5}">
                      <a16:colId xmlns:a16="http://schemas.microsoft.com/office/drawing/2014/main" val="4243552062"/>
                    </a:ext>
                  </a:extLst>
                </a:gridCol>
                <a:gridCol w="1909512">
                  <a:extLst>
                    <a:ext uri="{9D8B030D-6E8A-4147-A177-3AD203B41FA5}">
                      <a16:colId xmlns:a16="http://schemas.microsoft.com/office/drawing/2014/main" val="3869398781"/>
                    </a:ext>
                  </a:extLst>
                </a:gridCol>
              </a:tblGrid>
              <a:tr h="226540"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Tidspunkt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200" b="1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Saksnr</a:t>
                      </a:r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. </a:t>
                      </a:r>
                    </a:p>
                  </a:txBody>
                  <a:tcPr marL="45720" marR="45720" marT="22860" marB="22860">
                    <a:lnL w="11744">
                      <a:solidFill>
                        <a:srgbClr val="FFFFFF"/>
                      </a:solidFill>
                    </a:lnL>
                    <a:lnR w="11744">
                      <a:solidFill>
                        <a:srgbClr val="FFFFFF"/>
                      </a:solidFill>
                    </a:lnR>
                    <a:lnT w="11744">
                      <a:solidFill>
                        <a:srgbClr val="FFFFFF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Agendapunkt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Presentasjon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135929"/>
                  </a:ext>
                </a:extLst>
              </a:tr>
              <a:tr h="300789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00-12.10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/2024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elkommen, godkjenning av sakslisten og referat fra forrige møte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åvard Kolle Riis (FHI)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79274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10-12.50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/2024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atus Helsedataservice og datautlevering – statistikk, restanser og veien videre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Øystein Kyrre Johansen (FHI)</a:t>
                      </a:r>
                    </a:p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ngvild Eide Graff (FHI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0661"/>
                  </a:ext>
                </a:extLst>
              </a:tr>
              <a:tr h="300789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50-13.20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/2024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rategi for helsedata </a:t>
                      </a:r>
                      <a:endParaRPr lang="nb-NO" dirty="0"/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da Møller Solheim (FHI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404660"/>
                  </a:ext>
                </a:extLst>
              </a:tr>
              <a:tr h="35010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b="0" i="0" u="none" strike="noStrike" baseline="0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22860" marB="22860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604208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.30-14.00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/2024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D7 - </a:t>
                      </a:r>
                      <a:r>
                        <a:rPr lang="nb-NO" sz="1400" b="0" i="0" u="none" strike="noStrike" baseline="0" noProof="0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pporteringsbyrde</a:t>
                      </a: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for helsepersonell</a:t>
                      </a:r>
                      <a:endParaRPr lang="nb-NO" dirty="0"/>
                    </a:p>
                  </a:txBody>
                  <a:tcPr marL="91429" marR="91429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ein Olav </a:t>
                      </a:r>
                      <a:r>
                        <a:rPr lang="nb-NO" sz="1400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almland</a:t>
                      </a: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Gystad (FHI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399311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.00-14.10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6/2024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y microdata.no-relatert brukerstøttestilling samlokalisert med Helsedataservice (FHI) på Tynset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auto"/>
                      <a:r>
                        <a:rPr lang="nb-NO" sz="1400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Ørnulf Risnes (SIKT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209798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.10-14.45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/2024</a:t>
                      </a:r>
                      <a:endParaRPr lang="nb-NO" sz="1400" b="0" i="0" u="none" strike="noStrike" kern="1200" baseline="0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rategisk handlingsplan for arbeidet med nasjonale medisinske kvalitetsregistre 2024-2026</a:t>
                      </a:r>
                      <a:endParaRPr lang="nb-NO" dirty="0"/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hilip André Skau (SKDE)</a:t>
                      </a:r>
                    </a:p>
                  </a:txBody>
                  <a:tcPr marL="45720" marR="45720" marT="22860" marB="22860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114799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.45-15.00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ventuelt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rgbClr val="281C2C"/>
                        </a:solidFill>
                        <a:effectLst/>
                        <a:highlight>
                          <a:srgbClr val="CBD4F6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767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3124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b03e3f-0198-4cf0-8ef3-8a9cdea3a6ce" xsi:nil="true"/>
    <Tema xmlns="88595634-ea7b-4c92-b295-196ded768a9e" xsi:nil="true"/>
    <lcf76f155ced4ddcb4097134ff3c332f xmlns="88595634-ea7b-4c92-b295-196ded768a9e">
      <Terms xmlns="http://schemas.microsoft.com/office/infopath/2007/PartnerControls"/>
    </lcf76f155ced4ddcb4097134ff3c332f>
    <AvsnitttilGard xmlns="88595634-ea7b-4c92-b295-196ded768a9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65FC782EEBE54CAEC53DEDA7D5C459" ma:contentTypeVersion="42" ma:contentTypeDescription="Create a new document." ma:contentTypeScope="" ma:versionID="014965ccc47df91f889641513bb0783f">
  <xsd:schema xmlns:xsd="http://www.w3.org/2001/XMLSchema" xmlns:xs="http://www.w3.org/2001/XMLSchema" xmlns:p="http://schemas.microsoft.com/office/2006/metadata/properties" xmlns:ns2="88595634-ea7b-4c92-b295-196ded768a9e" xmlns:ns3="37b03e3f-0198-4cf0-8ef3-8a9cdea3a6ce" targetNamespace="http://schemas.microsoft.com/office/2006/metadata/properties" ma:root="true" ma:fieldsID="0c1cadfab439424854df4d5e7547b073" ns2:_="" ns3:_="">
    <xsd:import namespace="88595634-ea7b-4c92-b295-196ded768a9e"/>
    <xsd:import namespace="37b03e3f-0198-4cf0-8ef3-8a9cdea3a6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Tema" minOccurs="0"/>
                <xsd:element ref="ns2:AvsnitttilGard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595634-ea7b-4c92-b295-196ded768a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e7140caa-8402-4c36-9a5d-f51276ec0a9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Tema" ma:index="18" nillable="true" ma:displayName="Tema" ma:format="Dropdown" ma:internalName="Tema" ma:readOnly="false">
      <xsd:simpleType>
        <xsd:restriction base="dms:Choice">
          <xsd:enumeration value="UH"/>
          <xsd:enumeration value="Eksempler"/>
          <xsd:enumeration value="Ikke bruk"/>
          <xsd:enumeration value="Hovedokument"/>
        </xsd:restriction>
      </xsd:simpleType>
    </xsd:element>
    <xsd:element name="AvsnitttilGard" ma:index="19" nillable="true" ma:displayName="Avsnitt til Gard" ma:internalName="AvsnitttilGard" ma:readOnly="false">
      <xsd:simpleType>
        <xsd:restriction base="dms:Text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b03e3f-0198-4cf0-8ef3-8a9cdea3a6ce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67a900e8-11f3-4da5-b019-e1840e329a85}" ma:internalName="TaxCatchAll" ma:showField="CatchAllData" ma:web="37b03e3f-0198-4cf0-8ef3-8a9cdea3a6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FCA575-0FDF-4115-8713-BED1539D933C}">
  <ds:schemaRefs>
    <ds:schemaRef ds:uri="37b03e3f-0198-4cf0-8ef3-8a9cdea3a6ce"/>
    <ds:schemaRef ds:uri="88595634-ea7b-4c92-b295-196ded768a9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B15E02B-6AFF-4840-86DF-B929E40CEDE7}">
  <ds:schemaRefs>
    <ds:schemaRef ds:uri="37b03e3f-0198-4cf0-8ef3-8a9cdea3a6ce"/>
    <ds:schemaRef ds:uri="88595634-ea7b-4c92-b295-196ded768a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4E56E70-BFE7-499F-8011-B3105261CF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Widescreen</PresentationFormat>
  <Slides>1</Slides>
  <Notes>0</Notes>
  <HiddenSlides>0</HiddenSlides>
  <ScaleCrop>false</ScaleCrop>
  <HeadingPairs>
    <vt:vector size="4" baseType="variant">
      <vt:variant>
        <vt:lpstr>Tema</vt:lpstr>
      </vt:variant>
      <vt:variant>
        <vt:i4>2</vt:i4>
      </vt:variant>
      <vt:variant>
        <vt:lpstr>Lysbildetitler</vt:lpstr>
      </vt:variant>
      <vt:variant>
        <vt:i4>1</vt:i4>
      </vt:variant>
    </vt:vector>
  </HeadingPairs>
  <TitlesOfParts>
    <vt:vector size="3" baseType="lpstr">
      <vt:lpstr>Office-tema</vt:lpstr>
      <vt:lpstr>1_Office-tema</vt:lpstr>
      <vt:lpstr>Agenda Helsedatarådet 26. september 12.00-15.00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0</cp:revision>
  <dcterms:created xsi:type="dcterms:W3CDTF">2024-02-27T13:47:12Z</dcterms:created>
  <dcterms:modified xsi:type="dcterms:W3CDTF">2024-09-19T10:5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65FC782EEBE54CAEC53DEDA7D5C459</vt:lpwstr>
  </property>
  <property fmtid="{D5CDD505-2E9C-101B-9397-08002B2CF9AE}" pid="3" name="MediaServiceImageTags">
    <vt:lpwstr/>
  </property>
</Properties>
</file>